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8"/>
  </p:notesMasterIdLst>
  <p:handoutMasterIdLst>
    <p:handoutMasterId r:id="rId19"/>
  </p:handoutMasterIdLst>
  <p:sldIdLst>
    <p:sldId id="356" r:id="rId7"/>
    <p:sldId id="385" r:id="rId8"/>
    <p:sldId id="388" r:id="rId9"/>
    <p:sldId id="389" r:id="rId10"/>
    <p:sldId id="386" r:id="rId11"/>
    <p:sldId id="379" r:id="rId12"/>
    <p:sldId id="387" r:id="rId13"/>
    <p:sldId id="376" r:id="rId14"/>
    <p:sldId id="372" r:id="rId15"/>
    <p:sldId id="373" r:id="rId16"/>
    <p:sldId id="279" r:id="rId17"/>
  </p:sldIdLst>
  <p:sldSz cx="9144000" cy="5143500" type="screen16x9"/>
  <p:notesSz cx="9925050" cy="6665913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3"/>
    <p:restoredTop sz="94650"/>
  </p:normalViewPr>
  <p:slideViewPr>
    <p:cSldViewPr snapToGrid="0">
      <p:cViewPr>
        <p:scale>
          <a:sx n="106" d="100"/>
          <a:sy n="106" d="100"/>
        </p:scale>
        <p:origin x="593" y="50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8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8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12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6741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758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919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#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033461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Inhalte des </a:t>
            </a:r>
            <a:r>
              <a:rPr lang="de-DE" b="1" dirty="0" err="1"/>
              <a:t>Docbooks</a:t>
            </a:r>
            <a:endParaRPr lang="de-DE" b="1" dirty="0"/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DocBook</a:t>
            </a:r>
            <a:r>
              <a:rPr lang="de-DE" b="1" dirty="0"/>
              <a:t> Tags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Ausblick MVC-Architecture and </a:t>
            </a:r>
            <a:r>
              <a:rPr lang="de-DE" b="1" dirty="0" err="1"/>
              <a:t>XQuery</a:t>
            </a:r>
            <a:endParaRPr lang="de-DE" b="1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8081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38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31CDFBD-DB0B-4A62-979B-5603023334E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13128888"/>
              </p:ext>
            </p:extLst>
          </p:nvPr>
        </p:nvGraphicFramePr>
        <p:xfrm>
          <a:off x="208800" y="1600200"/>
          <a:ext cx="8744400" cy="3083399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4372200">
                  <a:extLst>
                    <a:ext uri="{9D8B030D-6E8A-4147-A177-3AD203B41FA5}">
                      <a16:colId xmlns:a16="http://schemas.microsoft.com/office/drawing/2014/main" val="1583036570"/>
                    </a:ext>
                  </a:extLst>
                </a:gridCol>
                <a:gridCol w="4372200">
                  <a:extLst>
                    <a:ext uri="{9D8B030D-6E8A-4147-A177-3AD203B41FA5}">
                      <a16:colId xmlns:a16="http://schemas.microsoft.com/office/drawing/2014/main" val="1291359394"/>
                    </a:ext>
                  </a:extLst>
                </a:gridCol>
              </a:tblGrid>
              <a:tr h="399180">
                <a:tc>
                  <a:txBody>
                    <a:bodyPr/>
                    <a:lstStyle/>
                    <a:p>
                      <a:r>
                        <a:rPr lang="en-GB" dirty="0" err="1"/>
                        <a:t>Sinnvol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Unpassend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635839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+ </a:t>
                      </a:r>
                      <a:r>
                        <a:rPr lang="en-GB" dirty="0" err="1"/>
                        <a:t>Designentscheidunge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Technische</a:t>
                      </a:r>
                      <a:r>
                        <a:rPr lang="en-GB" dirty="0"/>
                        <a:t> Detail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019695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Benutz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Technologi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Low-Level Programming </a:t>
                      </a:r>
                      <a:r>
                        <a:rPr lang="en-GB" dirty="0" err="1"/>
                        <a:t>Inhalte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05817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Gedankengänge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Modellierung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Organisatorische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65935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High-Level </a:t>
                      </a:r>
                      <a:r>
                        <a:rPr lang="en-GB" dirty="0" err="1"/>
                        <a:t>Sicht</a:t>
                      </a:r>
                      <a:r>
                        <a:rPr lang="en-GB" dirty="0"/>
                        <a:t> auf </a:t>
                      </a:r>
                      <a:r>
                        <a:rPr lang="en-GB" dirty="0" err="1"/>
                        <a:t>Lös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514033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Projekt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Kontext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Zielsetz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838530"/>
                  </a:ext>
                </a:extLst>
              </a:tr>
              <a:tr h="688319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Visuell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Darstellung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eines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Spielablauf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85546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5EB0E56-BFBA-4465-A864-62B96DC6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8" y="972000"/>
            <a:ext cx="8508999" cy="380810"/>
          </a:xfrm>
        </p:spPr>
        <p:txBody>
          <a:bodyPr/>
          <a:lstStyle/>
          <a:p>
            <a:r>
              <a:rPr lang="en-GB" dirty="0" err="1"/>
              <a:t>DocBook</a:t>
            </a:r>
            <a:r>
              <a:rPr lang="en-GB" dirty="0"/>
              <a:t> </a:t>
            </a:r>
            <a:r>
              <a:rPr lang="en-GB" dirty="0" err="1"/>
              <a:t>Inhalte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B5D50-BE2B-49E6-9951-1194DE7D98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CC0BB9-070A-48F4-B46F-CFF6BDEED9C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251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DC26E7-1EEB-401E-BC09-3A9BF28D51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C46E17-8363-4833-9041-A5A219E80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972000"/>
            <a:ext cx="8508999" cy="380810"/>
          </a:xfrm>
        </p:spPr>
        <p:txBody>
          <a:bodyPr/>
          <a:lstStyle/>
          <a:p>
            <a:r>
              <a:rPr lang="en-GB" dirty="0" err="1"/>
              <a:t>DocBook</a:t>
            </a:r>
            <a:r>
              <a:rPr lang="en-GB" dirty="0"/>
              <a:t> Tag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C5727B-503E-46EB-AF38-7A345EDDB0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8BE0C-9D26-4B08-AD60-EFC07EDBE7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081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ard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Table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hip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 </a:t>
            </a:r>
            <a:r>
              <a:rPr lang="de-DE" dirty="0" err="1"/>
              <a:t>Processor</a:t>
            </a:r>
            <a:endParaRPr lang="de-DE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07777"/>
          </a:xfrm>
          <a:prstGeom prst="rect">
            <a:avLst/>
          </a:prstGeom>
        </p:spPr>
        <p:txBody>
          <a:bodyPr/>
          <a:lstStyle/>
          <a:p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610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ards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E4369A1-98D1-ED48-A09C-D8E9C25A6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483681"/>
            <a:ext cx="7955280" cy="231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45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ML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SVG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DocBook</a:t>
            </a:r>
            <a:endParaRPr lang="de-DE" dirty="0"/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45525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1550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228</Words>
  <Application>Microsoft Office PowerPoint</Application>
  <PresentationFormat>On-screen Show (16:9)</PresentationFormat>
  <Paragraphs>92</Paragraphs>
  <Slides>11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Gliederung</vt:lpstr>
      <vt:lpstr>DocBook Inhalte</vt:lpstr>
      <vt:lpstr>DocBook Tags</vt:lpstr>
      <vt:lpstr>Dokumentation ‚design choices‘</vt:lpstr>
      <vt:lpstr>Cards</vt:lpstr>
      <vt:lpstr>Dokumentation ‚used technologies‘</vt:lpstr>
      <vt:lpstr>XML</vt:lpstr>
      <vt:lpstr>Ausblick MVC-Architecture und XQuery</vt:lpstr>
      <vt:lpstr>Ausblick MVC-Architecture and XQuery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Ikbal Yesiltas</cp:lastModifiedBy>
  <cp:revision>63</cp:revision>
  <cp:lastPrinted>2015-07-30T14:04:45Z</cp:lastPrinted>
  <dcterms:created xsi:type="dcterms:W3CDTF">2019-11-21T08:12:12Z</dcterms:created>
  <dcterms:modified xsi:type="dcterms:W3CDTF">2019-11-28T09:59:11Z</dcterms:modified>
</cp:coreProperties>
</file>